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4660"/>
  </p:normalViewPr>
  <p:slideViewPr>
    <p:cSldViewPr snapToGrid="0" showGuides="1">
      <p:cViewPr varScale="1">
        <p:scale>
          <a:sx n="123" d="100"/>
          <a:sy n="123" d="100"/>
        </p:scale>
        <p:origin x="90" y="23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369759"/>
            <a:ext cx="4791301" cy="25026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1071184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31" y="107118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360051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107540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12175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371578"/>
            <a:ext cx="4768651" cy="1704425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867038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4702625"/>
            <a:ext cx="4791301" cy="14791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214175" y="4238696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7" y="1071184"/>
            <a:ext cx="4791301" cy="10711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360051"/>
            <a:ext cx="4791301" cy="250268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080480"/>
            <a:ext cx="4791301" cy="109724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359083"/>
            <a:ext cx="4791301" cy="17169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51626" y="4702625"/>
            <a:ext cx="4791301" cy="147510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57555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6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5521" y="231045"/>
            <a:ext cx="7660479" cy="507298"/>
          </a:xfrm>
        </p:spPr>
        <p:txBody>
          <a:bodyPr/>
          <a:lstStyle/>
          <a:p>
            <a:r>
              <a:rPr lang="da-DK" sz="2300" dirty="0"/>
              <a:t>Gud vil alles frel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275702" y="2383736"/>
            <a:ext cx="4791304" cy="2493064"/>
          </a:xfrm>
        </p:spPr>
        <p:txBody>
          <a:bodyPr>
            <a:noAutofit/>
          </a:bodyPr>
          <a:lstStyle/>
          <a:p>
            <a:r>
              <a:rPr lang="da-DK" sz="1100" dirty="0"/>
              <a:t>Jonas’ kald til at gå og forkynde omvendelse til </a:t>
            </a:r>
            <a:r>
              <a:rPr lang="da-DK" sz="1100" dirty="0" err="1"/>
              <a:t>Nineve</a:t>
            </a:r>
            <a:endParaRPr lang="da-DK" sz="1100" dirty="0"/>
          </a:p>
          <a:p>
            <a:r>
              <a:rPr lang="da-DK" sz="1100" dirty="0"/>
              <a:t>Jonas’ ser på sig selv, sit mismod, mens Gud vil alles omvendelse</a:t>
            </a:r>
          </a:p>
          <a:p>
            <a:r>
              <a:rPr lang="da-DK" sz="1100" dirty="0"/>
              <a:t>Gud lærer Jonas det rette perspektiv </a:t>
            </a:r>
            <a:endParaRPr lang="da-DK" sz="1000" dirty="0"/>
          </a:p>
          <a:p>
            <a:endParaRPr lang="da-DK" sz="1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sz="1200" dirty="0"/>
              <a:t>Jonas 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75702" y="5107540"/>
            <a:ext cx="4791301" cy="1071121"/>
          </a:xfrm>
        </p:spPr>
        <p:txBody>
          <a:bodyPr/>
          <a:lstStyle/>
          <a:p>
            <a:pPr marL="0" indent="0">
              <a:buNone/>
            </a:pPr>
            <a:r>
              <a:rPr lang="da-DK" sz="1100" dirty="0"/>
              <a:t>Forskel på menneskers ønsker og Guds</a:t>
            </a:r>
          </a:p>
          <a:p>
            <a:pPr marL="0" indent="0">
              <a:buNone/>
            </a:pPr>
            <a:r>
              <a:rPr lang="da-DK" sz="1100" dirty="0"/>
              <a:t>Mennesket synker ned i mismod og selvmedlidenhed, mens Gud ser </a:t>
            </a:r>
            <a:r>
              <a:rPr lang="da-DK" sz="1100"/>
              <a:t>det hele fra </a:t>
            </a:r>
            <a:r>
              <a:rPr lang="da-DK" sz="1100" dirty="0"/>
              <a:t>foroven, og han løfter os op til at se, som han gør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371578"/>
            <a:ext cx="4794777" cy="1704425"/>
          </a:xfrm>
        </p:spPr>
        <p:txBody>
          <a:bodyPr/>
          <a:lstStyle/>
          <a:p>
            <a:r>
              <a:rPr lang="da-DK" sz="1200" dirty="0"/>
              <a:t>Hvorfor er det så svært for Jonas at forkynde for assyrerne</a:t>
            </a:r>
          </a:p>
          <a:p>
            <a:r>
              <a:rPr lang="da-DK" sz="1200" dirty="0"/>
              <a:t>Hvad kan forårsage mismod og selvmedlidenhed i os</a:t>
            </a:r>
          </a:p>
          <a:p>
            <a:r>
              <a:rPr lang="da-DK" sz="1200" dirty="0"/>
              <a:t>Hvad skal vi gøre, når vi rammes af mismod og selvmedlidenhed  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4702625"/>
            <a:ext cx="4791301" cy="1479198"/>
          </a:xfrm>
        </p:spPr>
        <p:txBody>
          <a:bodyPr/>
          <a:lstStyle/>
          <a:p>
            <a:endParaRPr lang="da-DK" sz="11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7803F5-6891-BD45-A643-E1B43C0AB861}"/>
              </a:ext>
            </a:extLst>
          </p:cNvPr>
          <p:cNvSpPr txBox="1"/>
          <p:nvPr/>
        </p:nvSpPr>
        <p:spPr>
          <a:xfrm>
            <a:off x="12107333" y="-2810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5C912E7-263A-1242-8E5A-A6DF1EA11F72}"/>
              </a:ext>
            </a:extLst>
          </p:cNvPr>
          <p:cNvSpPr txBox="1"/>
          <p:nvPr/>
        </p:nvSpPr>
        <p:spPr>
          <a:xfrm>
            <a:off x="4490113" y="47357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83b4fc67-7e4d-4af3-b66e-0e0e8a1422f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05</TotalTime>
  <Words>103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Century Gothic</vt:lpstr>
      <vt:lpstr>Verdana</vt:lpstr>
      <vt:lpstr>Wingdings 3</vt:lpstr>
      <vt:lpstr>Wisp</vt:lpstr>
      <vt:lpstr>think-cell Slide</vt:lpstr>
      <vt:lpstr>Gud vil alles frels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Jaakko Puukka</cp:lastModifiedBy>
  <cp:revision>116</cp:revision>
  <dcterms:created xsi:type="dcterms:W3CDTF">2019-08-19T18:08:22Z</dcterms:created>
  <dcterms:modified xsi:type="dcterms:W3CDTF">2023-06-16T17:19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